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2"/>
  </p:notesMasterIdLst>
  <p:sldIdLst>
    <p:sldId id="2147475154" r:id="rId6"/>
    <p:sldId id="2147475151" r:id="rId7"/>
    <p:sldId id="2147475126" r:id="rId8"/>
    <p:sldId id="2147475155" r:id="rId9"/>
    <p:sldId id="2147475156" r:id="rId10"/>
    <p:sldId id="2147476951" r:id="rId1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5" d="100"/>
          <a:sy n="105" d="100"/>
        </p:scale>
        <p:origin x="830" y="6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0D507994-2260-4228-8F7F-A5AC99A893E1}"/>
    <pc:docChg chg="modSld delMainMaster">
      <pc:chgData name="Neriman EL HADIDI" userId="4b24840c-84b3-44ac-9131-ca3568cb403b" providerId="ADAL" clId="{0D507994-2260-4228-8F7F-A5AC99A893E1}" dt="2024-11-01T08:56:29.955" v="6"/>
      <pc:docMkLst>
        <pc:docMk/>
      </pc:docMkLst>
      <pc:sldChg chg="modSp">
        <pc:chgData name="Neriman EL HADIDI" userId="4b24840c-84b3-44ac-9131-ca3568cb403b" providerId="ADAL" clId="{0D507994-2260-4228-8F7F-A5AC99A893E1}" dt="2024-11-01T08:56:09.429" v="5"/>
        <pc:sldMkLst>
          <pc:docMk/>
          <pc:sldMk cId="0" sldId="2147475126"/>
        </pc:sldMkLst>
        <pc:graphicFrameChg chg="mod">
          <ac:chgData name="Neriman EL HADIDI" userId="4b24840c-84b3-44ac-9131-ca3568cb403b" providerId="ADAL" clId="{0D507994-2260-4228-8F7F-A5AC99A893E1}" dt="2024-11-01T08:56:01.993" v="4"/>
          <ac:graphicFrameMkLst>
            <pc:docMk/>
            <pc:sldMk cId="0" sldId="2147475126"/>
            <ac:graphicFrameMk id="19" creationId="{EB7D2B75-FD9D-9FC2-EFE6-73F7CD7EAED5}"/>
          </ac:graphicFrameMkLst>
        </pc:graphicFrameChg>
        <pc:graphicFrameChg chg="mod">
          <ac:chgData name="Neriman EL HADIDI" userId="4b24840c-84b3-44ac-9131-ca3568cb403b" providerId="ADAL" clId="{0D507994-2260-4228-8F7F-A5AC99A893E1}" dt="2024-11-01T08:56:09.429" v="5"/>
          <ac:graphicFrameMkLst>
            <pc:docMk/>
            <pc:sldMk cId="0" sldId="2147475126"/>
            <ac:graphicFrameMk id="20" creationId="{C9891986-CEF2-FDF9-BEAD-DC4583FB9300}"/>
          </ac:graphicFrameMkLst>
        </pc:graphicFrameChg>
      </pc:sldChg>
      <pc:sldChg chg="modSp">
        <pc:chgData name="Neriman EL HADIDI" userId="4b24840c-84b3-44ac-9131-ca3568cb403b" providerId="ADAL" clId="{0D507994-2260-4228-8F7F-A5AC99A893E1}" dt="2024-11-01T08:55:51.949" v="3"/>
        <pc:sldMkLst>
          <pc:docMk/>
          <pc:sldMk cId="0" sldId="2147475151"/>
        </pc:sldMkLst>
        <pc:graphicFrameChg chg="mod">
          <ac:chgData name="Neriman EL HADIDI" userId="4b24840c-84b3-44ac-9131-ca3568cb403b" providerId="ADAL" clId="{0D507994-2260-4228-8F7F-A5AC99A893E1}" dt="2024-11-01T08:55:41.505" v="2"/>
          <ac:graphicFrameMkLst>
            <pc:docMk/>
            <pc:sldMk cId="0" sldId="2147475151"/>
            <ac:graphicFrameMk id="19" creationId="{EB7D2B75-FD9D-9FC2-EFE6-73F7CD7EAED5}"/>
          </ac:graphicFrameMkLst>
        </pc:graphicFrameChg>
        <pc:graphicFrameChg chg="mod">
          <ac:chgData name="Neriman EL HADIDI" userId="4b24840c-84b3-44ac-9131-ca3568cb403b" providerId="ADAL" clId="{0D507994-2260-4228-8F7F-A5AC99A893E1}" dt="2024-11-01T08:55:51.949" v="3"/>
          <ac:graphicFrameMkLst>
            <pc:docMk/>
            <pc:sldMk cId="0" sldId="2147475151"/>
            <ac:graphicFrameMk id="20" creationId="{C9891986-CEF2-FDF9-BEAD-DC4583FB9300}"/>
          </ac:graphicFrameMkLst>
        </pc:graphicFrameChg>
      </pc:sldChg>
      <pc:sldChg chg="modSp">
        <pc:chgData name="Neriman EL HADIDI" userId="4b24840c-84b3-44ac-9131-ca3568cb403b" providerId="ADAL" clId="{0D507994-2260-4228-8F7F-A5AC99A893E1}" dt="2024-11-01T08:56:29.955" v="6"/>
        <pc:sldMkLst>
          <pc:docMk/>
          <pc:sldMk cId="0" sldId="2147475156"/>
        </pc:sldMkLst>
        <pc:graphicFrameChg chg="mod">
          <ac:chgData name="Neriman EL HADIDI" userId="4b24840c-84b3-44ac-9131-ca3568cb403b" providerId="ADAL" clId="{0D507994-2260-4228-8F7F-A5AC99A893E1}" dt="2024-11-01T08:56:29.955" v="6"/>
          <ac:graphicFrameMkLst>
            <pc:docMk/>
            <pc:sldMk cId="0" sldId="2147475156"/>
            <ac:graphicFrameMk id="21" creationId="{F47ABEA7-12B2-F4BB-D71E-2AAAD3E11997}"/>
          </ac:graphicFrameMkLst>
        </pc:graphicFrameChg>
      </pc:sldChg>
      <pc:sldMasterChg chg="del">
        <pc:chgData name="Neriman EL HADIDI" userId="4b24840c-84b3-44ac-9131-ca3568cb403b" providerId="ADAL" clId="{0D507994-2260-4228-8F7F-A5AC99A893E1}" dt="2024-11-01T08:54:19.822" v="0" actId="2696"/>
        <pc:sldMasterMkLst>
          <pc:docMk/>
          <pc:sldMasterMk cId="823099819" sldId="2147483792"/>
        </pc:sldMasterMkLst>
      </pc:sldMasterChg>
      <pc:sldMasterChg chg="del">
        <pc:chgData name="Neriman EL HADIDI" userId="4b24840c-84b3-44ac-9131-ca3568cb403b" providerId="ADAL" clId="{0D507994-2260-4228-8F7F-A5AC99A893E1}" dt="2024-11-01T08:54:33.887" v="1" actId="2696"/>
        <pc:sldMasterMkLst>
          <pc:docMk/>
          <pc:sldMasterMk cId="1201238808" sldId="2147483843"/>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4/05/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5/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5/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5/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5/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5/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5/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5/14/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5/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5/14/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8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5/1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5/1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5/1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5/1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5/1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5/1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168684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4</TotalTime>
  <Words>947</Words>
  <Application>Microsoft Office PowerPoint</Application>
  <PresentationFormat>On-screen Show (16:9)</PresentationFormat>
  <Paragraphs>328</Paragraphs>
  <Slides>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Sourcing Analysis (Replace with SO WHAT)</vt:lpstr>
      <vt:lpstr>Product Sourcing Analysis (Replace with SO WHAT)</vt:lpstr>
      <vt:lpstr>Price Elasticity Curve (Replace with SO WHAT)</vt:lpstr>
      <vt:lpstr>Revenue Response Analysis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4</cp:revision>
  <dcterms:created xsi:type="dcterms:W3CDTF">2024-07-08T12:09:12Z</dcterms:created>
  <dcterms:modified xsi:type="dcterms:W3CDTF">2025-05-14T17:3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